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8A151E-E0A5-4415-2FD2-1B557135DE3C}" name="Colin Brewer" initials="CB" userId="S::Colin.Brewer@theglobalfund.org::1a19b906-790d-41b4-bbc9-f1b0d1c55b0e" providerId="AD"/>
  <p188:author id="{D2A1847D-0225-261E-131E-FB55A396A0F5}" name="Eric Rottermann" initials="ER" userId="S::Eric.Rottermann@theglobalfund.org::50bcfce5-3dfb-45d5-a86e-82dba52c8736" providerId="AD"/>
  <p188:author id="{14D6FBC4-F5F3-6D59-A7B2-ADFB69C34BF7}" name="Bianca Auping - Kamps" initials="BK" userId="S::bianca.auping-kamps@theglobalfund.org::0f708a45-c1c4-4586-ac98-127b52a1ada2" providerId="AD"/>
</p188:authorLst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076AA6-0D8F-4CFE-8054-AA603F7AD07F}" v="3" dt="2023-06-06T10:02:23.625"/>
  </p1510:revLst>
</p1510:revInfo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c Rottermann" userId="50bcfce5-3dfb-45d5-a86e-82dba52c8736" providerId="ADAL" clId="{15076AA6-0D8F-4CFE-8054-AA603F7AD07F}"/>
    <pc:docChg chg="custSel modSld">
      <pc:chgData name="Eric Rottermann" userId="50bcfce5-3dfb-45d5-a86e-82dba52c8736" providerId="ADAL" clId="{15076AA6-0D8F-4CFE-8054-AA603F7AD07F}" dt="2023-06-06T10:02:24.591" v="3" actId="21"/>
      <pc:docMkLst>
        <pc:docMk/>
      </pc:docMkLst>
      <pc:sldChg chg="addSp delSp modSp mod">
        <pc:chgData name="Eric Rottermann" userId="50bcfce5-3dfb-45d5-a86e-82dba52c8736" providerId="ADAL" clId="{15076AA6-0D8F-4CFE-8054-AA603F7AD07F}" dt="2023-06-06T10:02:24.591" v="3" actId="21"/>
        <pc:sldMkLst>
          <pc:docMk/>
          <pc:sldMk cId="1725452629" sldId="2147473715"/>
        </pc:sldMkLst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" creationId="{B283E49C-66DC-6F14-0FBC-31A7ABF478A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8" creationId="{526F4E8F-98BA-6BDB-FA8E-AB42B562D9E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0" creationId="{429CF914-CBBA-BAC8-01A9-8EE368A1362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3" creationId="{E0C7ABE7-E311-BA97-5FB9-1960DE963D1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4" creationId="{F2A9AD94-BB4A-6592-9DC6-1D189CB38145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8" creationId="{4AB6C45E-F0BE-A643-C3A9-87A28F13C9E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9" creationId="{1AC471A4-79DA-59FF-490F-88FD10B1624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0" creationId="{15426B40-99B7-FCA0-D0BC-F3BABF0019D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4" creationId="{89BE68BD-33BD-1055-3994-0F999E6CFC3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5" creationId="{2111016E-2A25-AE44-AA71-7DC81216B4C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6" creationId="{0BAC1B69-8586-B066-E6CE-E9F28BD9D2A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8" creationId="{172EFC97-E5E3-2F6C-E51C-944DC388AD0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9" creationId="{271210FC-E581-84B7-52A1-5AD1CF878E5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0" creationId="{4B348E5A-82F1-9170-A163-713E5D3868F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1" creationId="{994BD128-9361-694A-C08D-E06CC1B59B4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7" creationId="{EB1475BB-1AE2-818D-794D-69BDAC2D95C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1" creationId="{96F9929E-F44F-962A-7490-CEAE03BDA5A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5" creationId="{8DB8D291-1C37-6D0B-13EA-9B44B5F2099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6" creationId="{CDBB816A-8FA4-B60C-A5CB-A660589663F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7" creationId="{1117C35C-725D-DB4A-E85C-DD332D09D00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8" creationId="{780AF2AC-0209-C4FE-39F0-32393500EDF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31" creationId="{6401B9B9-95ED-2FE5-A9F8-2368C65087B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40" creationId="{B747AEAE-7F1F-E3A0-C0DE-9FBD1B29FB5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52" creationId="{74202922-4D15-9A56-C0DB-C7898DFEDF3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56" creationId="{DE1CD13A-15D0-AAE3-61B8-2CDFC5DF8C4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87" creationId="{3CE88736-FC7F-BC9D-BF37-62F696D71FF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08" creationId="{F6E307AD-A918-AD99-B66B-A7C21892753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57" creationId="{EA74A676-DE87-5247-6D5B-3E8D5BD2B9B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59" creationId="{287915A5-8D05-8D38-1BEE-5C97BC93767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0" creationId="{9E1C21AB-A817-EE48-328A-0A1314C4B56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1" creationId="{AB1478AB-6FB4-C957-D352-2AA50A24D5A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2" creationId="{34FF5C87-BE95-2370-70AA-981395145A2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6" creationId="{4F8B9A4E-D700-5F1C-5F00-8BF39DD16E2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7" creationId="{FA6B3471-1E0A-B2E7-686C-AD562D4CCD6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89" creationId="{DD74DA00-A12F-5E37-DCF7-AF0E09EA688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92" creationId="{A46B56D3-0D15-BD2A-25B1-3201B49ADD3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03" creationId="{40FA03C2-76EF-6079-F74D-99B901FE5A7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07" creationId="{A618A4F7-910A-68B3-8CE4-1E78B137F259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0" creationId="{B14D51BF-B8F3-F476-A9BB-1AA8530FEF39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2" creationId="{6927777A-1D7A-F442-A2CF-8BD98B72FA72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4" creationId="{62B4F44C-8155-81B1-F015-A918768F3206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6" creationId="{D845FFA7-CE25-0487-DFC1-460CB2977D15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8" creationId="{CA1AF7FF-B380-0A35-311C-EA831EEF00D2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24" creationId="{E51C737A-EF27-1D70-3C12-7080D9AD926B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26" creationId="{AACA6BC6-6722-36A6-140E-D9186140EF3D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28" creationId="{AD27B34F-FE73-67AC-8FBA-464AB8172B9C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0" creationId="{6F90E6C3-656C-769D-81D3-2F4EA90850D4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3" creationId="{E3623A78-C014-F5E8-F54D-829F10243ABD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7" creationId="{6AA1F0C2-7DD2-C3E3-7145-ED36023D84D8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8" creationId="{BC351BF6-E13C-4FBA-4BD1-BAC2DD49716E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9" creationId="{57F8AC5A-EEC2-38DA-323E-C39A4AE99E4E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41" creationId="{6943F3A3-4D67-039A-7C3F-65813AEE8548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43" creationId="{6A984B53-2332-5EDF-A2FD-5D6CF479A9B8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44" creationId="{57626E8C-08E8-CD86-8514-11F279689053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58" creationId="{F467A2C6-07C2-0905-41C6-965CF379179D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62" creationId="{C679979A-97A6-9539-B0B8-995BFC16D1D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68" creationId="{C4D2844F-06A1-7131-D993-8947FDF2592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69" creationId="{338A2C1C-58EF-0CDF-559C-ED4DB297070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1" creationId="{EAF6E5A0-E795-3E1E-B42D-E75E4C934FB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2" creationId="{B3CCF1DD-73D4-AB1F-DA9F-0261908A71C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3" creationId="{EDFD264C-B078-21B4-0E9B-33E74193494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5" creationId="{8914F531-1F0B-768A-8759-CB44CB346E9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6" creationId="{40CFFDFB-A4BD-A418-CA2C-CA29495FEF2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9" creationId="{E35F5B3A-A2C3-B149-E514-BE116F2A0B66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85" creationId="{C94626C8-1BE3-B023-7386-F5BC50E16ED5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86" creationId="{6E7DCC14-8629-CC5B-1DA8-1F7BAEEAF78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87" creationId="{F0EB8BD5-1B0E-4E0C-2641-FFAAB519E1B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94" creationId="{106B890B-66A2-AB29-4F67-BA8F6AFD029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6" creationId="{8753C3C6-6D43-6B33-39C7-78BFDD7C6A3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7" creationId="{862121AD-66BF-1321-784F-47ED7BEE99B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8" creationId="{32E683AB-5B36-8C3F-224A-5089777527D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9" creationId="{B62CC8E2-2C6F-D657-3561-523BBBC23ED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0" creationId="{309C6979-042B-49B4-13AC-8417F6D0448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1" creationId="{2592ED9F-3286-58EE-DFB1-18C5A307B59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2" creationId="{125C6719-293D-EA36-B512-CF21503B656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3" creationId="{9DDD1EDF-D496-1C86-8971-F6C09571C586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4" creationId="{84F360AE-66F6-35AF-4010-299D30CFE8E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5" creationId="{765C0131-60FD-DEF2-ABAF-92AC3E3A8F3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0" creationId="{7B76E4E6-301D-A623-1E1B-5D805087815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2" creationId="{84598D33-5481-B7E7-893F-73B0D8F48FB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3" creationId="{0A7C3E2C-C6D0-D61A-79B3-4FACDECB703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4" creationId="{F86B71F1-339B-44A2-B6A6-EC68B32603A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5" creationId="{B0B19F9F-E0E7-F3C3-C6ED-0F9ED5A2A7E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6" creationId="{6D837652-6B95-050E-0124-CA6A3D231D1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7" creationId="{F9F737A0-5E8D-C58A-5D18-6E4BF994BAC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8" creationId="{5B11CACE-AA80-1F36-ADE2-1F58FDBE9406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9" creationId="{E802BFB0-8D16-0B5F-9BD9-300E3335A0C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0" creationId="{53A2E22C-468E-9BD2-5923-CD1702809A9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1" creationId="{C693906C-7061-23DE-6C3F-8E734FB1943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2" creationId="{A3F74BE2-0A6D-FAEB-4153-EAC11841568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3" creationId="{F6CC0407-5BEE-2AA7-E775-499CA3C04A3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4" creationId="{18642E38-3FB7-F97E-8B00-35D7E91DF3D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5" creationId="{C6214C03-EB18-0BFF-9FC4-C477BB85EB7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6" creationId="{0D8CEB3D-27E3-DBF1-72E0-6F69109EAEF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7" creationId="{0923CB6E-D637-BD0C-A642-149B6430D8A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8" creationId="{33A10F92-72BC-7B76-A43E-6CD60CC3815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34" creationId="{B9EAE682-D152-1418-6E2C-E865EB1045B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35" creationId="{21D9CFFB-55EE-7412-374D-BC9BA293760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49" creationId="{E822EB6A-E653-04B7-D763-7B5C5E57D6A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50" creationId="{4F8F9624-BEB9-627D-B958-4306F101758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55" creationId="{85199421-D9CD-CCA7-EB81-D049D11382C9}"/>
          </ac:spMkLst>
        </pc:spChg>
        <pc:grpChg chg="add del mod">
          <ac:chgData name="Eric Rottermann" userId="50bcfce5-3dfb-45d5-a86e-82dba52c8736" providerId="ADAL" clId="{15076AA6-0D8F-4CFE-8054-AA603F7AD07F}" dt="2023-06-06T10:02:23.471" v="1"/>
          <ac:grpSpMkLst>
            <pc:docMk/>
            <pc:sldMk cId="1725452629" sldId="2147473715"/>
            <ac:grpSpMk id="308" creationId="{0419F8B6-FAF2-47AF-39B0-CDA44F129208}"/>
          </ac:grpSpMkLst>
        </pc:grpChg>
        <pc:picChg chg="add del">
          <ac:chgData name="Eric Rottermann" userId="50bcfce5-3dfb-45d5-a86e-82dba52c8736" providerId="ADAL" clId="{15076AA6-0D8F-4CFE-8054-AA603F7AD07F}" dt="2023-06-06T10:02:24.591" v="3" actId="21"/>
          <ac:picMkLst>
            <pc:docMk/>
            <pc:sldMk cId="1725452629" sldId="2147473715"/>
            <ac:picMk id="499" creationId="{305090F9-C888-3B57-446C-335AFFB713B9}"/>
          </ac:picMkLst>
        </pc:pic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2" creationId="{6AAE7AA5-B32C-2FBC-B99D-44F52652F3A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3" creationId="{27EDE727-82E5-5A86-2DA5-C410E314F39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4" creationId="{C923A953-2B93-3622-D8BC-FC719091A62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5" creationId="{3D40D9C8-7F62-2DA4-E567-6BEE3832E98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6" creationId="{EA5FEA56-9BE7-5B7B-F8AE-9ECA7EB1E01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7" creationId="{2DE35422-3856-48A0-0B19-8F18F8650B0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8" creationId="{025DEC29-22C2-7A13-B4F2-FCB050712B5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9" creationId="{83D73C9B-75C6-9B76-45FF-65D9FED2057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0" creationId="{624FA111-8E45-7586-EED5-98A67B757EA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1" creationId="{4B9B03AC-6E43-0E20-1ABD-0015FB119B7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2" creationId="{20C062D7-80FB-4F01-1172-850D6E54E8E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3" creationId="{5C9D0C77-81C0-EAD6-4091-EBF674031A9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4" creationId="{82617D73-4230-DA14-F490-365AECFBB06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5" creationId="{EA572C29-5042-F72C-65B9-7F1A2A076CB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6" creationId="{CEFEBD94-FDA7-9BCB-C40F-10F04B07203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8" creationId="{70B5261D-E2A0-9F7A-3780-45010035A2E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9" creationId="{CCF029FF-F6DB-1468-A9B1-E3B57A702FA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0" creationId="{10DFB31E-6A6D-4B0D-1613-9FDC97B8097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2" creationId="{D6918FA5-6948-3AF0-2EED-61116834837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3" creationId="{35D6A324-4594-7C5C-5D19-2E9F233C5FDD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4" creationId="{252E336D-E344-2D7C-EAAC-2B2D8DF5B4D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9" creationId="{267051D9-966B-27A6-6306-5C076C54739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60" creationId="{A5DDCD71-986B-EB0B-A827-6B8891E5C50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63" creationId="{844F8DA4-CC34-3253-63CD-E7FD9B81E93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29" creationId="{2DF88825-06B3-C27F-9319-E560B58A9FD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30" creationId="{1EB2DAF6-8AEB-108A-31D1-9A42E83DBB5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3" creationId="{7C901B9F-362D-DD97-8596-0293B5C23EE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4" creationId="{2C8BF6F0-45BA-3DDB-2411-77D830DEA4C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6" creationId="{1C491091-86F6-6D6E-4F1C-115662F51D8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7" creationId="{7C0E217C-F3AC-1883-7B71-25AFD3634DE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0" creationId="{FCD20A42-13C8-8169-7FFD-20A0A0C36F3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3" creationId="{49EEBC8F-E062-7097-2181-91156BB55F7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4" creationId="{8902B838-CFD3-E477-5899-88FB029E123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7" creationId="{E7DD7BF0-D60F-1239-57EC-47A9A7D1E46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8" creationId="{6B67AB86-15E8-BB66-6000-59EC33EBDF0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9" creationId="{0D845544-55F9-5461-9B66-BFC48364333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1" creationId="{93B2A18A-8B94-FE01-2402-3E9837F53E5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2" creationId="{65EF23E0-377A-D275-20E0-0F8A6398FD2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4" creationId="{B79EE7FF-8F79-43F7-8B36-0A01856DFE5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5" creationId="{A9EE3D50-9CD8-DB51-06CA-1CE4BFCFBCA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7" creationId="{B8050F6F-E5C3-9C5B-6551-89CEC6D0DFC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8" creationId="{D2ECB282-0A17-C857-6846-0EA10952636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0" creationId="{72130659-C849-E462-A1C8-C29B0826C2C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1" creationId="{B461DCFD-73C7-4E96-2679-DE6438CCF67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3" creationId="{66C984F0-F5B2-A82C-11F3-3EE8B6C082D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4" creationId="{625C9241-EC6A-2E45-94EE-94FBAD2ABA2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7" creationId="{7B724A70-1326-AD6D-721F-FDDB8BFC4DB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0" creationId="{8AD4C2AA-0BA0-5BC5-EB4B-41C0A1452FA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1" creationId="{E29BFBC6-5F18-754A-9257-DF41CC59F54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2" creationId="{57BEA36E-F7C5-FDD9-5C63-159FAF4235D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3" creationId="{1691D958-0BA8-AE55-9544-E74CD03578F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5" creationId="{8FAFE318-2E7D-8111-1336-B2DE6A6CCA2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6" creationId="{F5724BF2-F8E3-3131-D1F2-F6C86021EC9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8" creationId="{A462A369-1778-03A5-AAAB-F9E037BA774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9" creationId="{1529DDEF-BB5E-A4AA-F555-D3CB7335FD4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1" creationId="{B0B86098-169F-B94B-72D4-1AFF73F0BA6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3" creationId="{9131708B-E7DE-97F0-0142-82205254174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7" creationId="{FA251D06-9661-355B-9AA3-085F801F0BE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9" creationId="{4597FF58-593B-F4A0-8205-E997B344AF1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03" creationId="{9C9DAA04-13A6-A74E-7528-85935F0F5FA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05" creationId="{39D4C6F6-B084-A951-5358-3072B28035B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1" creationId="{431B8DAE-69C8-6A37-D5DE-15C13D2F257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2" creationId="{539D5D7C-9033-89BE-82AA-BC063BD0569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4" creationId="{B92FF3A5-EBFF-97DB-440F-F2CC853EA48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9" creationId="{8BE2CBEC-690A-F9EE-3A59-FC7A8B280EF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22" creationId="{561170B3-D8E2-57A6-87B1-D0332F17F40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28" creationId="{D453FF0E-349F-52F8-5702-E2E38793AFD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31" creationId="{56CB0779-F5A1-2622-3BC6-4D0A99EDC20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35" creationId="{18938AA6-28AE-A8F7-4AA0-9514B4E5E6D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47" creationId="{31713E15-5393-5197-581A-A9F9FB56390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48" creationId="{68727DD2-CD38-1A8C-9E93-5566796EB23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49" creationId="{0737CDD1-0729-9025-74CD-1222D5DD560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55" creationId="{DB81BA36-D551-CFF1-1ABC-129D7CCBE7B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56" creationId="{4347E156-AE57-288C-32B2-EC6E6BAD6F2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58" creationId="{A26985D7-B203-A01B-A461-61AD4BF1FBE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0" creationId="{1A0DC69F-4EBE-85F7-03A7-A2349362269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1" creationId="{235CF148-688C-04A5-3B53-928E9FCF090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2" creationId="{1DF5F597-41CD-DBC0-11D2-4B22B393BDA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3" creationId="{B8F0EA05-AFAE-0C53-EB7F-3B86ACD8CC4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4" creationId="{8CB335F0-8AA2-E30B-0711-8FBC3036BE6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5" creationId="{AB0C4A05-F84B-8174-3E45-5FD027DFFCB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6" creationId="{FC88296F-847F-3AB0-F5EB-C4E2C003183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7" creationId="{4B581924-D211-89D6-3796-148B9CF24E0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8" creationId="{3016D3A5-EAA6-98DD-E8AA-F08E6C3EBC5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9" creationId="{364B8B78-05F0-6ACC-3705-0BA8C6FB74B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79" creationId="{63D87A1B-4C99-8D5A-B94D-35982F15B08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84" creationId="{CADA7DF5-738F-B448-2176-52C90C1B0AB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3" creationId="{8BF0FE80-EDA3-996F-A3F0-4111676E008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4" creationId="{575E9D35-CAD6-BEAE-43E5-ECA8336714C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5" creationId="{2435FC3F-C537-6B27-08CB-A6440B3350B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8" creationId="{371F505B-42C7-E84F-F2D2-5DEAF732F3C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01" creationId="{047B6B35-A798-E344-0780-3F8AB55C171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02" creationId="{10BA6FF4-736B-4875-4D4A-5DB749389CD2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3" creationId="{9905450A-DA39-FFD3-4432-032543D7EFA8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5" creationId="{E90C278F-6A9D-033A-8F8C-600B230E8482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7" creationId="{4DF15C49-87DD-160C-2472-FA7F79C6EE1A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9" creationId="{67EEEF3C-89F1-B61B-19B2-C9F1104003C6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25" creationId="{7A8FDD3B-030C-DD7A-460C-AE187FC03F67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27" creationId="{D2F041C5-8A06-3CDD-95FD-19BDEBE7201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1" creationId="{47BB5204-83CE-63F6-0A30-0EEF0AB6B5A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2" creationId="{D4C59E1A-4177-9E1F-45CC-5B5F9317D80D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3" creationId="{39F55B53-3828-2F14-84EE-372716253EF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4" creationId="{A0BA9C9C-A865-20D5-3BB7-AC6A9EFBAD4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6" creationId="{60DF38EB-7FC8-421C-04F2-1A46C4A3851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7" creationId="{EF22DCA8-A5B9-22F7-CE39-67EE0BECD8DD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8" creationId="{66355386-DFD5-8CDD-98E1-849CE692514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9" creationId="{DD0AE4CD-A240-3FCA-B255-9E0B2E4CA1B5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22613D0A-8631-4533-8614-F1FB82D58903}" type="slidenum">
              <a:rPr/>
              <a:t>1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140796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22613D0A-8631-4533-8614-F1FB82D58903}" type="slidenum">
              <a:rPr/>
              <a:t>2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28903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7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1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2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27.emf"/><Relationship Id="rId4" Type="http://schemas.openxmlformats.org/officeDocument/2006/relationships/tags" Target="../tags/tag51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5.svg"/></Relationships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1rAQAnTXeHbh2z.pbh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a2c079-d1fd-410b-b0f0-ee08b7165110" xsi:nil="true"/>
    <IconOverlay xmlns="http://schemas.microsoft.com/sharepoint/v4" xsi:nil="true"/>
    <lcf76f155ced4ddcb4097134ff3c332f xmlns="85d3ba82-8f4c-4867-a51b-a9da4489fa4c">
      <Terms xmlns="http://schemas.microsoft.com/office/infopath/2007/PartnerControls"/>
    </lcf76f155ced4ddcb4097134ff3c332f>
    <_dlc_DocId xmlns="a03ac030-8fc0-429e-a59d-aec15056182b">3NAZ7T4E3CZ3-205845905-80811</_dlc_DocId>
    <_dlc_DocIdUrl xmlns="a03ac030-8fc0-429e-a59d-aec15056182b">
      <Url>https://tgf.sharepoint.com/sites/TSA2F1/A2FN/_layouts/15/DocIdRedir.aspx?ID=3NAZ7T4E3CZ3-205845905-80811</Url>
      <Description>3NAZ7T4E3CZ3-205845905-80811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DB1926E75FE6D448A94BA4FC7E9CAC040087614E2211F2E849A61121FB2A895684" ma:contentTypeVersion="31" ma:contentTypeDescription="A Word document." ma:contentTypeScope="" ma:versionID="0d17818d9943a64c624a6bc4b87d8406">
  <xsd:schema xmlns:xsd="http://www.w3.org/2001/XMLSchema" xmlns:xs="http://www.w3.org/2001/XMLSchema" xmlns:p="http://schemas.microsoft.com/office/2006/metadata/properties" xmlns:ns2="a03ac030-8fc0-429e-a59d-aec15056182b" xmlns:ns3="eef4912e-ca7b-4ea5-904f-19ac548f6d9b" xmlns:ns4="85d3ba82-8f4c-4867-a51b-a9da4489fa4c" xmlns:ns5="http://schemas.microsoft.com/sharepoint/v4" xmlns:ns6="97a2c079-d1fd-410b-b0f0-ee08b7165110" targetNamespace="http://schemas.microsoft.com/office/2006/metadata/properties" ma:root="true" ma:fieldsID="61f0693f3c0dd16b6078e1c747208fb0" ns2:_="" ns3:_="" ns4:_="" ns5:_="" ns6:_="">
    <xsd:import namespace="a03ac030-8fc0-429e-a59d-aec15056182b"/>
    <xsd:import namespace="eef4912e-ca7b-4ea5-904f-19ac548f6d9b"/>
    <xsd:import namespace="85d3ba82-8f4c-4867-a51b-a9da4489fa4c"/>
    <xsd:import namespace="http://schemas.microsoft.com/sharepoint/v4"/>
    <xsd:import namespace="97a2c079-d1fd-410b-b0f0-ee08b716511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LengthInSeconds" minOccurs="0"/>
                <xsd:element ref="ns4:MediaServiceLocation" minOccurs="0"/>
                <xsd:element ref="ns5:IconOverlay" minOccurs="0"/>
                <xsd:element ref="ns4:lcf76f155ced4ddcb4097134ff3c332f" minOccurs="0"/>
                <xsd:element ref="ns6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3ac030-8fc0-429e-a59d-aec15056182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f4912e-ca7b-4ea5-904f-19ac548f6d9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astSharedByUser" ma:index="13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4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d3ba82-8f4c-4867-a51b-a9da4489fa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2" nillable="true" ma:displayName="Tags" ma:internalName="MediaServiceAutoTag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6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2c079-d1fd-410b-b0f0-ee08b7165110" elementFormDefault="qualified">
    <xsd:import namespace="http://schemas.microsoft.com/office/2006/documentManagement/types"/>
    <xsd:import namespace="http://schemas.microsoft.com/office/infopath/2007/PartnerControls"/>
    <xsd:element name="TaxCatchAll" ma:index="29" nillable="true" ma:displayName="Taxonomy Catch All Column" ma:hidden="true" ma:list="{ec4cac43-698d-4576-b803-e04971b97e09}" ma:internalName="TaxCatchAll" ma:showField="CatchAllData" ma:web="a03ac030-8fc0-429e-a59d-aec1505618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54</TotalTime>
  <Words>393</Words>
  <PresentationFormat>A3 Paper (297x420 mm)</PresentationFormat>
  <Paragraphs>15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 Black</vt:lpstr>
      <vt:lpstr>Calibri</vt:lpstr>
      <vt:lpstr>Segoe UI</vt:lpstr>
      <vt:lpstr>1_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3-03-16T13:24:13Z</cp:lastPrinted>
  <dcterms:created xsi:type="dcterms:W3CDTF">2022-08-04T15:17:55Z</dcterms:created>
  <dcterms:modified xsi:type="dcterms:W3CDTF">2023-06-06T10:0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1926E75FE6D448A94BA4FC7E9CAC040087614E2211F2E849A61121FB2A895684</vt:lpwstr>
  </property>
  <property fmtid="{D5CDD505-2E9C-101B-9397-08002B2CF9AE}" pid="3" name="_dlc_DocIdItemGuid">
    <vt:lpwstr>c3d452b7-490c-4ff6-a98e-c73062e00629</vt:lpwstr>
  </property>
  <property fmtid="{D5CDD505-2E9C-101B-9397-08002B2CF9AE}" pid="4" name="MediaServiceImageTags">
    <vt:lpwstr/>
  </property>
  <property fmtid="{D5CDD505-2E9C-101B-9397-08002B2CF9AE}" pid="5" name="_dlc_DocId">
    <vt:lpwstr>2MX3P7Y5RS4X-61670648-4089</vt:lpwstr>
  </property>
  <property fmtid="{D5CDD505-2E9C-101B-9397-08002B2CF9AE}" pid="6" name="_dlc_DocIdUrl">
    <vt:lpwstr>https://tgf.sharepoint.com/sites/TSCMS1/CMSS/_layouts/15/DocIdRedir.aspx?ID=2MX3P7Y5RS4X-61670648-4089, 2MX3P7Y5RS4X-61670648-4089</vt:lpwstr>
  </property>
</Properties>
</file>